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76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4/03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4/03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9592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790892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0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NUTZEN UND VORTEILE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BESCHREIBUNG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25490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de-DE" dirty="0"/>
              <a:t>Verringerte Wartungskosten und gesicherte Anlageneffizienz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de-DE" dirty="0"/>
              <a:t>SF300 und SF100 Ventilprüfstand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de-DE" sz="800">
                <a:solidFill>
                  <a:srgbClr val="000000"/>
                </a:solidFill>
              </a:rPr>
              <a:t>Nutzen: Wartung, Effizienz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de-DE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sstattung: </a:t>
            </a:r>
            <a:r>
              <a:rPr lang="de-DE" sz="80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+mn-cs"/>
              </a:rPr>
              <a:t>SRMB (SF300), SRMC (SF100) 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de-DE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atalog-Code: HS125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154478"/>
            <a:ext cx="3890963" cy="91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</a:rPr>
              <a:t>Abfüllventilwartung und -prüfung ohne </a:t>
            </a:r>
            <a:r>
              <a:rPr lang="de-DE" sz="1200" dirty="0" err="1">
                <a:solidFill>
                  <a:srgbClr val="000000"/>
                </a:solidFill>
              </a:rPr>
              <a:t>Maschinenstillstandszeiten</a:t>
            </a:r>
            <a:endParaRPr lang="de-DE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</a:rPr>
              <a:t>Mögliche Prüfung von drei unterschiedlichen Ventilen (nicht gleichzeitig). 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84331" y="2128833"/>
            <a:ext cx="3823487" cy="146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 dirty="0"/>
              <a:t>Prüfstand aus Edelstahlgestell, frontale Zugangsklappe aus LEXAN, abnehmbare Edelstahlverkleidungen, einfacher Zugang zum Arbeitsbereich.</a:t>
            </a:r>
          </a:p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 dirty="0"/>
              <a:t>Der Prüfstand erlaubt das einfache und schnelle Entfernen der getesteten Abfüllventile, komfortablen Zugang zwecks Wartung und hat schnelle Leitungsanschlüsse durch </a:t>
            </a:r>
            <a:r>
              <a:rPr lang="de-DE" sz="1200" i="1" dirty="0"/>
              <a:t>Klemmen</a:t>
            </a:r>
            <a:r>
              <a:rPr lang="de-DE" sz="1200" dirty="0"/>
              <a:t>.</a:t>
            </a:r>
          </a:p>
        </p:txBody>
      </p:sp>
      <p:sp>
        <p:nvSpPr>
          <p:cNvPr id="16" name="CasellaDiTesto 15"/>
          <p:cNvSpPr txBox="1"/>
          <p:nvPr/>
        </p:nvSpPr>
        <p:spPr>
          <a:xfrm>
            <a:off x="913606" y="5568528"/>
            <a:ext cx="1742035" cy="1915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de-DE" sz="1000" b="1">
                <a:solidFill>
                  <a:schemeClr val="folHlink"/>
                </a:solidFill>
              </a:rPr>
              <a:t>Gesamtabmessungen</a:t>
            </a:r>
          </a:p>
        </p:txBody>
      </p:sp>
      <p:pic>
        <p:nvPicPr>
          <p:cNvPr id="31" name="Immagine 23">
            <a:extLst>
              <a:ext uri="{FF2B5EF4-FFF2-40B4-BE49-F238E27FC236}">
                <a16:creationId xmlns:a16="http://schemas.microsoft.com/office/drawing/2014/main" id="{0604FB30-2379-457B-9258-824D90F84B5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06" y="3630515"/>
            <a:ext cx="1742035" cy="187138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Immagine 24">
            <a:extLst>
              <a:ext uri="{FF2B5EF4-FFF2-40B4-BE49-F238E27FC236}">
                <a16:creationId xmlns:a16="http://schemas.microsoft.com/office/drawing/2014/main" id="{C1583A71-D16E-4145-9D48-586D46B346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8687" y="3034146"/>
            <a:ext cx="1480593" cy="16856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" name="Connettore 2 36">
            <a:extLst>
              <a:ext uri="{FF2B5EF4-FFF2-40B4-BE49-F238E27FC236}">
                <a16:creationId xmlns:a16="http://schemas.microsoft.com/office/drawing/2014/main" id="{A6C7A041-05C3-41E3-9BAC-8A9E97FE56BC}"/>
              </a:ext>
            </a:extLst>
          </p:cNvPr>
          <p:cNvCxnSpPr>
            <a:cxnSpLocks/>
          </p:cNvCxnSpPr>
          <p:nvPr/>
        </p:nvCxnSpPr>
        <p:spPr>
          <a:xfrm flipV="1">
            <a:off x="2512901" y="4105609"/>
            <a:ext cx="625587" cy="29970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B50F60E5-C501-459B-B5AF-1908B944A54E}"/>
              </a:ext>
            </a:extLst>
          </p:cNvPr>
          <p:cNvSpPr txBox="1"/>
          <p:nvPr/>
        </p:nvSpPr>
        <p:spPr>
          <a:xfrm>
            <a:off x="5134489" y="5576444"/>
            <a:ext cx="3223708" cy="1915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de-DE" sz="1000" b="1">
                <a:solidFill>
                  <a:schemeClr val="folHlink"/>
                </a:solidFill>
              </a:rPr>
              <a:t>Prüfstand Vorder- und Rückansicht.</a:t>
            </a:r>
          </a:p>
        </p:txBody>
      </p:sp>
      <p:pic>
        <p:nvPicPr>
          <p:cNvPr id="39" name="Immagine 41">
            <a:extLst>
              <a:ext uri="{FF2B5EF4-FFF2-40B4-BE49-F238E27FC236}">
                <a16:creationId xmlns:a16="http://schemas.microsoft.com/office/drawing/2014/main" id="{6B11E827-1F63-491E-986A-AD2F6753DC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08" t="1781" r="26979" b="5899"/>
          <a:stretch>
            <a:fillRect/>
          </a:stretch>
        </p:blipFill>
        <p:spPr bwMode="auto">
          <a:xfrm>
            <a:off x="5121628" y="3799711"/>
            <a:ext cx="1310805" cy="18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Immagine 4">
            <a:extLst>
              <a:ext uri="{FF2B5EF4-FFF2-40B4-BE49-F238E27FC236}">
                <a16:creationId xmlns:a16="http://schemas.microsoft.com/office/drawing/2014/main" id="{3C6D4565-1023-4B0B-AF34-FAF590490F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87" t="2800" r="35043" b="6203"/>
          <a:stretch>
            <a:fillRect/>
          </a:stretch>
        </p:blipFill>
        <p:spPr bwMode="auto">
          <a:xfrm>
            <a:off x="6948164" y="3826778"/>
            <a:ext cx="1410033" cy="18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CasellaDiTesto 40">
            <a:extLst>
              <a:ext uri="{FF2B5EF4-FFF2-40B4-BE49-F238E27FC236}">
                <a16:creationId xmlns:a16="http://schemas.microsoft.com/office/drawing/2014/main" id="{08B755D3-04BA-4CED-A780-E1090A648E09}"/>
              </a:ext>
            </a:extLst>
          </p:cNvPr>
          <p:cNvSpPr txBox="1"/>
          <p:nvPr/>
        </p:nvSpPr>
        <p:spPr>
          <a:xfrm>
            <a:off x="3123076" y="4832804"/>
            <a:ext cx="1190792" cy="1915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de-DE" sz="1000" b="1">
                <a:solidFill>
                  <a:schemeClr val="folHlink"/>
                </a:solidFill>
              </a:rPr>
              <a:t>Anschlüsse</a:t>
            </a:r>
          </a:p>
        </p:txBody>
      </p:sp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FB468C7-6B9C-4589-89A1-6EC400909D75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71E007D-DA77-41FE-ABE2-5B05E619F8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1191c-8472-4eb5-a739-69bdbf5e66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4FD11B3-8FBA-4210-8226-71D2DD19852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</TotalTime>
  <Words>94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SimSun</vt:lpstr>
      <vt:lpstr>Arial</vt:lpstr>
      <vt:lpstr>Wingdings</vt:lpstr>
      <vt:lpstr>NewSidel_Template_4x3_with add layouts</vt:lpstr>
      <vt:lpstr>think-cell Folie</vt:lpstr>
      <vt:lpstr>Verringerte Wartungskosten und gesicherte Anlageneffizienz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23</cp:revision>
  <dcterms:created xsi:type="dcterms:W3CDTF">2018-02-10T17:04:39Z</dcterms:created>
  <dcterms:modified xsi:type="dcterms:W3CDTF">2020-03-24T16:1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39:08.9836839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  <property fmtid="{D5CDD505-2E9C-101B-9397-08002B2CF9AE}" pid="26" name="ContentTypeId">
    <vt:lpwstr>0x01010048C1934A45FF5D4B8D5F4B18333E543F</vt:lpwstr>
  </property>
</Properties>
</file>